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A193EFAF-A1EC-41C2-90A7-4E4991B395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49DCC5AC-E617-41F9-9D85-DB65B3522C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87183867-E90B-48AF-8787-9230472253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35</c:v>
                </c:pt>
                <c:pt idx="1">
                  <c:v>0.34</c:v>
                </c:pt>
                <c:pt idx="2">
                  <c:v>0.25</c:v>
                </c:pt>
                <c:pt idx="3">
                  <c:v>0.0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35%</c:v>
                  </c:pt>
                  <c:pt idx="1">
                    <c:v>34%</c:v>
                  </c:pt>
                  <c:pt idx="2">
                    <c:v>25%</c:v>
                  </c:pt>
                  <c:pt idx="3">
                    <c:v>5%</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91364FCB-A8FF-47CF-906C-D9B9061888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38981D63-7A2F-40C4-BE39-B131AFA71C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A78E275F-0486-4E26-ACF2-26B32F671A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02</c:v>
                </c:pt>
                <c:pt idx="1">
                  <c:v>0.23</c:v>
                </c:pt>
                <c:pt idx="2">
                  <c:v>0.51</c:v>
                </c:pt>
                <c:pt idx="3">
                  <c:v>0.2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2%</c:v>
                  </c:pt>
                  <c:pt idx="1">
                    <c:v>23%</c:v>
                  </c:pt>
                  <c:pt idx="2">
                    <c:v>51%</c:v>
                  </c:pt>
                  <c:pt idx="3">
                    <c:v>24%</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c:v>
                </c:pt>
                <c:pt idx="1">
                  <c:v>0.79</c:v>
                </c:pt>
                <c:pt idx="2">
                  <c:v>0.9</c:v>
                </c:pt>
                <c:pt idx="3">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8F4675FB-2955-4A72-B1D3-2EFE0E9C63A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60D4C68F-6C02-4261-A186-0C0A1C6FCA1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AF7E2F30-5C19-4EEE-B03D-63825FFAF5A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3</c:v>
                </c:pt>
                <c:pt idx="1">
                  <c:v>0.21</c:v>
                </c:pt>
                <c:pt idx="2">
                  <c:v>0.1</c:v>
                </c:pt>
                <c:pt idx="3">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0%</c:v>
                  </c:pt>
                  <c:pt idx="1">
                    <c:v>79%</c:v>
                  </c:pt>
                  <c:pt idx="2">
                    <c:v>90%</c:v>
                  </c:pt>
                  <c:pt idx="3">
                    <c:v>90%</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6</c:v>
                </c:pt>
                <c:pt idx="1">
                  <c:v>0.87</c:v>
                </c:pt>
                <c:pt idx="2">
                  <c:v>0.75</c:v>
                </c:pt>
                <c:pt idx="3">
                  <c:v>0.9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A5C9605D-16C7-4CED-8DC0-9383059949C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233DE9D1-01B2-4B94-8186-245D8632DA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F911B2A0-EF3A-47A7-82AE-36A3683E238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1B9D39F7-190D-45F0-A05D-15F2BC99A0B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4</c:v>
                </c:pt>
                <c:pt idx="1">
                  <c:v>0.13</c:v>
                </c:pt>
                <c:pt idx="2">
                  <c:v>0.25</c:v>
                </c:pt>
                <c:pt idx="3">
                  <c:v>7.0000000000000007E-2</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6%</c:v>
                  </c:pt>
                  <c:pt idx="1">
                    <c:v>87%</c:v>
                  </c:pt>
                  <c:pt idx="2">
                    <c:v>75%</c:v>
                  </c:pt>
                  <c:pt idx="3">
                    <c:v>93%</c:v>
                  </c:pt>
                  <c:pt idx="4">
                    <c:v>100%</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8</c:v>
                </c:pt>
                <c:pt idx="1">
                  <c:v>0.8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BBB9767A-A69E-40C3-8DBB-0F3D9167F5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5E6C01B4-9D84-4787-A1C4-2F6FF006716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6FC976A4-85DA-41C9-B522-2809C08BAB8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97C3BFAC-C9E1-480D-A0A9-3878753908D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2</c:v>
                </c:pt>
                <c:pt idx="1">
                  <c:v>0.1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8%</c:v>
                  </c:pt>
                  <c:pt idx="1">
                    <c:v>81%</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F694AB1B-D9A3-4A27-9ECE-5209F92F1BC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F6E8003B-1526-461D-B80C-5F05C032B9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79%</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82</c:v>
                </c:pt>
                <c:pt idx="2">
                  <c:v>0.93</c:v>
                </c:pt>
                <c:pt idx="3">
                  <c:v>0.86</c:v>
                </c:pt>
                <c:pt idx="4">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9605E05B-9AB7-4EEF-979C-AF3E581F5AD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07CE292F-CADE-43AF-9A76-A54A600300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F2DA13CA-5B51-42B2-A00B-C0BE4E33514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E24BC30E-3D22-404E-99EE-42D5556B8A9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0.18</c:v>
                </c:pt>
                <c:pt idx="2">
                  <c:v>7.0000000000000007E-2</c:v>
                </c:pt>
                <c:pt idx="3">
                  <c:v>0.14000000000000001</c:v>
                </c:pt>
                <c:pt idx="4">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82%</c:v>
                  </c:pt>
                  <c:pt idx="2">
                    <c:v>93%</c:v>
                  </c:pt>
                  <c:pt idx="3">
                    <c:v>86%</c:v>
                  </c:pt>
                  <c:pt idx="4">
                    <c:v>9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6</c:v>
                </c:pt>
                <c:pt idx="2">
                  <c:v>0.9</c:v>
                </c:pt>
                <c:pt idx="3">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AAA77CA7-C58F-46DC-898F-812934539C5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18074902-ADB4-4DC1-A7DB-92D4BDE2DB2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0C324682-175F-4EBA-BDF0-CF8007B3EAD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4000000000000001</c:v>
                </c:pt>
                <c:pt idx="2">
                  <c:v>0.1</c:v>
                </c:pt>
                <c:pt idx="3">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6%</c:v>
                  </c:pt>
                  <c:pt idx="2">
                    <c:v>90%</c:v>
                  </c:pt>
                  <c:pt idx="3">
                    <c:v>85%</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5</c:v>
                </c:pt>
                <c:pt idx="1">
                  <c:v>0</c:v>
                </c:pt>
                <c:pt idx="2">
                  <c:v>0.88</c:v>
                </c:pt>
                <c:pt idx="3">
                  <c:v>0.91</c:v>
                </c:pt>
                <c:pt idx="4">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D514D687-69A3-4BB7-A236-89CE9816555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55B73C9F-10D5-48FC-878D-730275A261F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CE87421D-960D-4046-986C-E488CD4CAF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20DDD3E8-0EE4-4A9C-A956-925C5ED10D9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5</c:v>
                </c:pt>
                <c:pt idx="1">
                  <c:v>0</c:v>
                </c:pt>
                <c:pt idx="2">
                  <c:v>0.12</c:v>
                </c:pt>
                <c:pt idx="3">
                  <c:v>0.09</c:v>
                </c:pt>
                <c:pt idx="4">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5%</c:v>
                  </c:pt>
                  <c:pt idx="1">
                    <c:v>-</c:v>
                  </c:pt>
                  <c:pt idx="2">
                    <c:v>88%</c:v>
                  </c:pt>
                  <c:pt idx="3">
                    <c:v>91%</c:v>
                  </c:pt>
                  <c:pt idx="4">
                    <c:v>88%</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86</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8B2E651F-24EA-42D9-B5D6-188555FBECE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DCEC6DEC-08FA-45C7-823A-2FA5C95F1EE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E18D2671-881A-4902-8C59-14BFA467D6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4AFDB3E7-02B2-4DDB-80AD-2EB96EDFE56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1400000000000000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86%</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7</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C6FFFFC8-929D-4591-95E2-89CBA3540B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98EF34C7-41D8-4AB3-AD3E-9976471909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3</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7%</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85</c:v>
                </c:pt>
                <c:pt idx="2">
                  <c:v>2</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7</c:v>
                </c:pt>
                <c:pt idx="1">
                  <c:v>11</c:v>
                </c:pt>
                <c:pt idx="2">
                  <c:v>0</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5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0-115E-48E7-9278-D03DDCBD9794}"/>
                </c:ext>
              </c:extLst>
            </c:dLbl>
            <c:dLbl>
              <c:idx val="1"/>
              <c:tx>
                <c:rich>
                  <a:bodyPr/>
                  <a:lstStyle/>
                  <a:p>
                    <a:fld id="{427B733B-AF77-42F0-9C6C-702C9083AB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2EEEECBF-B328-45F8-963E-A6D4926CF3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A1322634-CA83-42BF-ABC3-8EDE2CA556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588F7268-B0B2-42B2-830C-8CD6AB6181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27055203-721C-4B67-903F-478727E8B4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78A0AD7E-81F4-408A-90CC-483FC11E7D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7</c:v>
                </c:pt>
                <c:pt idx="1">
                  <c:v>4</c:v>
                </c:pt>
                <c:pt idx="2">
                  <c:v>4</c:v>
                </c:pt>
                <c:pt idx="3">
                  <c:v>1</c:v>
                </c:pt>
                <c:pt idx="4">
                  <c:v>2</c:v>
                </c:pt>
                <c:pt idx="5">
                  <c:v>2</c:v>
                </c:pt>
                <c:pt idx="6">
                  <c:v>3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7%p</c:v>
                  </c:pt>
                  <c:pt idx="1">
                    <c:v>4%</c:v>
                  </c:pt>
                  <c:pt idx="2">
                    <c:v>4%</c:v>
                  </c:pt>
                  <c:pt idx="3">
                    <c:v>1%</c:v>
                  </c:pt>
                  <c:pt idx="4">
                    <c:v>2%</c:v>
                  </c:pt>
                  <c:pt idx="5">
                    <c:v>2%</c:v>
                  </c:pt>
                  <c:pt idx="6">
                    <c:v>35%</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648474DE-110D-4DD3-82D3-D69DDB6112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FF9EA7C3-AD46-46BF-906F-4E8502BF58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B287F726-0B03-4B8B-8B47-D30214EB05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6672540E-E47B-48CB-9EC0-6BBB0BD0DBC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4351565A-37DF-4033-9EBA-1046F9B73C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CBD02F28-08AF-40F2-A8E2-62EF1E9741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3</c:v>
                </c:pt>
                <c:pt idx="1">
                  <c:v>8</c:v>
                </c:pt>
                <c:pt idx="2">
                  <c:v>2</c:v>
                </c:pt>
                <c:pt idx="3">
                  <c:v>4</c:v>
                </c:pt>
                <c:pt idx="4">
                  <c:v>16</c:v>
                </c:pt>
                <c:pt idx="5">
                  <c:v>5</c:v>
                </c:pt>
                <c:pt idx="6">
                  <c:v>3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3%</c:v>
                  </c:pt>
                  <c:pt idx="1">
                    <c:v>8%</c:v>
                  </c:pt>
                  <c:pt idx="2">
                    <c:v>2%</c:v>
                  </c:pt>
                  <c:pt idx="3">
                    <c:v>4%</c:v>
                  </c:pt>
                  <c:pt idx="4">
                    <c:v>16%</c:v>
                  </c:pt>
                  <c:pt idx="5">
                    <c:v>5%</c:v>
                  </c:pt>
                  <c:pt idx="6">
                    <c:v>30%</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9E97C1C1-F958-40A5-B070-02CA5A39D7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6C15C5D0-E4D4-4BBA-B59E-75648D8843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CDA0E49-09B8-467E-AAC9-F55584983B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0E2D12D7-4130-40A7-AFCC-C528BE3669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4%</c:v>
                  </c:pt>
                  <c:pt idx="1">
                    <c:v>86%</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F90F5803-7F66-4261-A348-D2C03E3653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1D66685F-1B51-4F1C-98D2-ADB7798453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8</c:v>
                </c:pt>
                <c:pt idx="1">
                  <c:v>8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8%</c:v>
                  </c:pt>
                  <c:pt idx="1">
                    <c:v>82%</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C9B394C0-4B23-4B3A-97B8-A86FCBCB89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7104510D-01C0-42B6-BAA9-81FFEFC859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CC0DFC42-E36C-4556-88B1-221FF66E07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FBFF6A78-FA06-45A2-84C0-78832B365E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9</c:v>
                </c:pt>
                <c:pt idx="1">
                  <c:v>0.38</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9%</c:v>
                  </c:pt>
                  <c:pt idx="1">
                    <c:v>38%</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D41D9FB3-E3A5-4138-863F-C665D8DCCB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7BE1E345-530A-4433-B8CF-6F790D6A34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09D0CEBA-9692-4A23-BDCF-5729E2ADCA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B7960131-96A9-4D2E-AB47-911FE81ECC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5000000000000004</c:v>
                </c:pt>
                <c:pt idx="1">
                  <c:v>0.43</c:v>
                </c:pt>
                <c:pt idx="2">
                  <c:v>0</c:v>
                </c:pt>
                <c:pt idx="3">
                  <c:v>0</c:v>
                </c:pt>
                <c:pt idx="4">
                  <c:v>0.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5%</c:v>
                  </c:pt>
                  <c:pt idx="1">
                    <c:v>43%</c:v>
                  </c:pt>
                  <c:pt idx="2">
                    <c:v>-</c:v>
                  </c:pt>
                  <c:pt idx="3">
                    <c:v>-</c:v>
                  </c:pt>
                  <c:pt idx="4">
                    <c:v>1%</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BEF640DC-C955-4661-A505-4D100A2F22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27%</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7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7</c:v>
                </c:pt>
                <c:pt idx="1">
                  <c:v>7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7%p</c:v>
                  </c:pt>
                  <c:pt idx="1">
                    <c:v>73%q</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EC86CD78-E219-4303-8BF3-2C3E895F6B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p</c:v>
                  </c:pt>
                  <c:pt idx="1">
                    <c:v>94%q</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B84A87B8-4075-4FCE-93BB-97BCF2EB8C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8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2%p</c:v>
                  </c:pt>
                  <c:pt idx="1">
                    <c:v>88%q</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540C9F1C-79CA-4F07-B62C-6088402959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54335E7A-12AA-4F8E-A908-6E0F6BB964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1F989A78-1D91-46C4-B960-D944F424308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7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34A83BB1-1196-4008-B51A-DF6152E552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2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3F67E35A-B94C-4456-95BB-B60683BAC2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8</c:v>
                </c:pt>
                <c:pt idx="1">
                  <c:v>90</c:v>
                </c:pt>
                <c:pt idx="2">
                  <c:v>77</c:v>
                </c:pt>
                <c:pt idx="3">
                  <c:v>76</c:v>
                </c:pt>
                <c:pt idx="4">
                  <c:v>92</c:v>
                </c:pt>
                <c:pt idx="5">
                  <c:v>22</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8%</c:v>
                  </c:pt>
                  <c:pt idx="1">
                    <c:v>90%</c:v>
                  </c:pt>
                  <c:pt idx="2">
                    <c:v>77%</c:v>
                  </c:pt>
                  <c:pt idx="3">
                    <c:v>76%p</c:v>
                  </c:pt>
                  <c:pt idx="4">
                    <c:v>92%</c:v>
                  </c:pt>
                  <c:pt idx="5">
                    <c:v>22%q</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F4150912-A14E-49A0-B32E-AE44B7219B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9AD6515F-9827-4982-8EA9-69FC7F7F2D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6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EE61AC0E-2DE2-436D-86CB-AA92BFC046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13F2FEBB-89CF-469C-A645-23C34C1092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2D9142A2-4D91-46E4-B1DC-2BE1F06A1F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3DEC0FC5-79D2-484B-A640-B23371C9E9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88</c:v>
                </c:pt>
                <c:pt idx="2">
                  <c:v>62</c:v>
                </c:pt>
                <c:pt idx="3">
                  <c:v>71</c:v>
                </c:pt>
                <c:pt idx="4">
                  <c:v>90</c:v>
                </c:pt>
                <c:pt idx="5">
                  <c:v>38</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2%</c:v>
                  </c:pt>
                  <c:pt idx="1">
                    <c:v>88%</c:v>
                  </c:pt>
                  <c:pt idx="2">
                    <c:v>62%q</c:v>
                  </c:pt>
                  <c:pt idx="3">
                    <c:v>71%</c:v>
                  </c:pt>
                  <c:pt idx="4">
                    <c:v>90%</c:v>
                  </c:pt>
                  <c:pt idx="5">
                    <c:v>38%</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7</c:v>
                </c:pt>
                <c:pt idx="1">
                  <c:v>37</c:v>
                </c:pt>
                <c:pt idx="2">
                  <c:v>13</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5</c:v>
                </c:pt>
                <c:pt idx="1">
                  <c:v>28</c:v>
                </c:pt>
                <c:pt idx="2">
                  <c:v>18</c:v>
                </c:pt>
                <c:pt idx="3">
                  <c:v>7</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CFAFB4F2-26E3-42E8-B100-D05F8CD6C8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B70E8CBA-CF24-40EE-9CAE-DD3BFA3F9D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7</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7%</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E4912E03-E009-46F2-8C66-93B7953C9B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D0DE8ACA-6038-487B-A437-51D654DF7B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4</c:v>
                </c:pt>
                <c:pt idx="1">
                  <c:v>0.02</c:v>
                </c:pt>
                <c:pt idx="2">
                  <c:v>0.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4%</c:v>
                  </c:pt>
                  <c:pt idx="1">
                    <c:v>2%</c:v>
                  </c:pt>
                  <c:pt idx="2">
                    <c:v>4%</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13</c:v>
                </c:pt>
                <c:pt idx="1">
                  <c:v>22</c:v>
                </c:pt>
                <c:pt idx="2">
                  <c:v>6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37</c:v>
                </c:pt>
                <c:pt idx="2">
                  <c:v>5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20</c:v>
                </c:pt>
                <c:pt idx="2">
                  <c:v>29</c:v>
                </c:pt>
                <c:pt idx="3">
                  <c:v>14</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3</c:v>
                </c:pt>
                <c:pt idx="1">
                  <c:v>20</c:v>
                </c:pt>
                <c:pt idx="2">
                  <c:v>17</c:v>
                </c:pt>
                <c:pt idx="3">
                  <c:v>19</c:v>
                </c:pt>
                <c:pt idx="4">
                  <c:v>2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28</c:v>
                </c:pt>
                <c:pt idx="1">
                  <c:v>0.33600000000000002</c:v>
                </c:pt>
                <c:pt idx="2">
                  <c:v>0.28399999999999997</c:v>
                </c:pt>
                <c:pt idx="3">
                  <c:v>0.16</c:v>
                </c:pt>
                <c:pt idx="4">
                  <c:v>9.1999999999999998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4399999999999999</c:v>
                </c:pt>
                <c:pt idx="1">
                  <c:v>0.312</c:v>
                </c:pt>
                <c:pt idx="2">
                  <c:v>0.31</c:v>
                </c:pt>
                <c:pt idx="3">
                  <c:v>0.16700000000000001</c:v>
                </c:pt>
                <c:pt idx="4">
                  <c:v>6.7000000000000004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7</c:v>
                </c:pt>
                <c:pt idx="2">
                  <c:v>26</c:v>
                </c:pt>
                <c:pt idx="3">
                  <c:v>18</c:v>
                </c:pt>
                <c:pt idx="4">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8</c:v>
                </c:pt>
                <c:pt idx="2">
                  <c:v>19</c:v>
                </c:pt>
                <c:pt idx="3">
                  <c:v>18</c:v>
                </c:pt>
                <c:pt idx="4">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21</c:v>
                </c:pt>
                <c:pt idx="1">
                  <c:v>26</c:v>
                </c:pt>
                <c:pt idx="2">
                  <c:v>24</c:v>
                </c:pt>
                <c:pt idx="3">
                  <c:v>13</c:v>
                </c:pt>
                <c:pt idx="4">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4</c:v>
                </c:pt>
                <c:pt idx="1">
                  <c:v>28</c:v>
                </c:pt>
                <c:pt idx="2">
                  <c:v>18</c:v>
                </c:pt>
                <c:pt idx="3">
                  <c:v>10</c:v>
                </c:pt>
                <c:pt idx="4">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7ADA9081-7B5F-4E3B-AEE3-092D0E0CB1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9FB10EDB-AE77-4CF4-BBD8-1CDB3A528E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41B3E7D5-DD8C-4CA4-B7B1-B9551E62AF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6512E814-E66E-4CB6-94B0-41B0C46C0E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57999999999999996</c:v>
                </c:pt>
                <c:pt idx="1">
                  <c:v>0.05</c:v>
                </c:pt>
                <c:pt idx="2">
                  <c:v>0.22</c:v>
                </c:pt>
                <c:pt idx="3">
                  <c:v>0.1</c:v>
                </c:pt>
                <c:pt idx="4">
                  <c:v>0.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8%</c:v>
                  </c:pt>
                  <c:pt idx="1">
                    <c:v>5%</c:v>
                  </c:pt>
                  <c:pt idx="2">
                    <c:v>22%</c:v>
                  </c:pt>
                  <c:pt idx="3">
                    <c:v>10%</c:v>
                  </c:pt>
                  <c:pt idx="4">
                    <c:v>4%</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52E5FF11-127D-4D94-9F8A-BB5C22051D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F388DB02-9E6C-41A8-8212-5393DBE2C4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6ACEA3A0-0494-460D-85F2-A3840CC9D6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BD6CF34C-6C02-4759-B77E-A07CCFA19E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5</c:v>
                </c:pt>
                <c:pt idx="1">
                  <c:v>0.01</c:v>
                </c:pt>
                <c:pt idx="2">
                  <c:v>0.54</c:v>
                </c:pt>
                <c:pt idx="3">
                  <c:v>0.12</c:v>
                </c:pt>
                <c:pt idx="4">
                  <c:v>0.0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25%</c:v>
                  </c:pt>
                  <c:pt idx="1">
                    <c:v>1%</c:v>
                  </c:pt>
                  <c:pt idx="2">
                    <c:v>54%</c:v>
                  </c:pt>
                  <c:pt idx="3">
                    <c:v>12%</c:v>
                  </c:pt>
                  <c:pt idx="4">
                    <c:v>6%</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7</c:v>
                </c:pt>
                <c:pt idx="2">
                  <c:v>28</c:v>
                </c:pt>
                <c:pt idx="3">
                  <c:v>17</c:v>
                </c:pt>
                <c:pt idx="4">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9</c:v>
                </c:pt>
                <c:pt idx="1">
                  <c:v>18</c:v>
                </c:pt>
                <c:pt idx="2">
                  <c:v>25</c:v>
                </c:pt>
                <c:pt idx="3">
                  <c:v>18</c:v>
                </c:pt>
                <c:pt idx="4">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2</c:v>
                </c:pt>
                <c:pt idx="1">
                  <c:v>32</c:v>
                </c:pt>
                <c:pt idx="2">
                  <c:v>38</c:v>
                </c:pt>
                <c:pt idx="3">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9</c:v>
                </c:pt>
                <c:pt idx="1">
                  <c:v>34</c:v>
                </c:pt>
                <c:pt idx="2">
                  <c:v>29</c:v>
                </c:pt>
                <c:pt idx="3">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2</c:v>
                </c:pt>
                <c:pt idx="1">
                  <c:v>34</c:v>
                </c:pt>
                <c:pt idx="2">
                  <c:v>15</c:v>
                </c:pt>
                <c:pt idx="3">
                  <c:v>5</c:v>
                </c:pt>
                <c:pt idx="4">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6</c:v>
                </c:pt>
                <c:pt idx="1">
                  <c:v>23</c:v>
                </c:pt>
                <c:pt idx="2">
                  <c:v>8</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1</c:v>
                </c:pt>
                <c:pt idx="2">
                  <c:v>15</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1</c:v>
                </c:pt>
                <c:pt idx="2">
                  <c:v>12</c:v>
                </c:pt>
                <c:pt idx="3">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26</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7BE2CC13-E4D2-461A-938F-D285871EE9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CC2AB3BF-2339-4313-93B0-22DAE1FCA5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D64E36AD-EFAC-4BC4-851A-B1C4FDE6A7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2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q</c:v>
                  </c:pt>
                  <c:pt idx="1">
                    <c:v>24%p</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13AE5DF4-27B3-4EF9-BE0E-3BA3402749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9B4F3AE5-B56D-40EF-9722-6427205487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6</c:v>
                </c:pt>
                <c:pt idx="1">
                  <c:v>4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6%</c:v>
                  </c:pt>
                  <c:pt idx="1">
                    <c:v>44%</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76DEE4B4-EA65-443E-9EE1-5549A53E67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21D6691E-2957-4F03-969B-DD20BF230A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1%</c:v>
                  </c:pt>
                  <c:pt idx="1">
                    <c:v>29%</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06767B6E-4F99-4FBA-A832-8B08DF3A5C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55B4E66B-37CD-43A0-B1CB-F976FCE8CB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4D25A3DF-0E61-42F5-95AB-54B9B61504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3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6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7%q</c:v>
                  </c:pt>
                  <c:pt idx="1">
                    <c:v>63%p</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B98C815C-F644-45E5-A259-64D791CD78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7D1EB25E-9FA5-44C7-998A-8C5308A51A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CBF2F8C5-8E2A-4622-B971-60B694CA3E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38269B6D-7325-4D65-B7A8-92DF8DC2D3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0</c:v>
                </c:pt>
                <c:pt idx="1">
                  <c:v>7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0%</c:v>
                  </c:pt>
                  <c:pt idx="1">
                    <c:v>70%</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89CC8966-EF43-4397-B466-A525EDA65D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3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0%q</c:v>
                  </c:pt>
                  <c:pt idx="1">
                    <c:v>30%p</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5B616480-435F-4F43-B9EE-1165EE2469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3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8</c:v>
                </c:pt>
                <c:pt idx="1">
                  <c:v>3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8%q</c:v>
                  </c:pt>
                  <c:pt idx="1">
                    <c:v>32%p</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BB476107-7611-45EE-AADF-CD1DD40CAE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4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4</c:v>
                </c:pt>
                <c:pt idx="1">
                  <c:v>4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4%q</c:v>
                  </c:pt>
                  <c:pt idx="1">
                    <c:v>46%p</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4F9D3A84-DD71-45D1-AFD5-7A0C9A5440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EEC24347-373C-462B-8BDC-E7BE41ED0B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8FF824FA-A1E4-40A5-8FAA-50566E388B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6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3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8</c:v>
                </c:pt>
                <c:pt idx="1">
                  <c:v>3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8%q</c:v>
                  </c:pt>
                  <c:pt idx="1">
                    <c:v>32%p</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A66DC1B1-7BB9-4867-BA7F-376AB0BC83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1A96-46F4-8DED-A8EE18A79494}"/>
                </c:ext>
              </c:extLst>
            </c:dLbl>
            <c:dLbl>
              <c:idx val="1"/>
              <c:tx>
                <c:rich>
                  <a:bodyPr/>
                  <a:lstStyle/>
                  <a:p>
                    <a:r>
                      <a:rPr lang="en-GB"/>
                      <a:t>3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4%q</c:v>
                  </c:pt>
                  <c:pt idx="1">
                    <c:v>36%p</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1</c:v>
                </c:pt>
                <c:pt idx="1">
                  <c:v>24</c:v>
                </c:pt>
                <c:pt idx="2">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8</c:v>
                </c:pt>
                <c:pt idx="1">
                  <c:v>40</c:v>
                </c:pt>
                <c:pt idx="2">
                  <c:v>1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5C17CD31-6857-446E-AD11-31053FEAAE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27394A45-B37E-4F05-BA7A-AD0CF5D956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r>
                      <a:rPr lang="en-GB"/>
                      <a:t>2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519-4C1F-9643-9A55D10271AC}"/>
                </c:ext>
              </c:extLst>
            </c:dLbl>
            <c:dLbl>
              <c:idx val="4"/>
              <c:tx>
                <c:rich>
                  <a:bodyPr/>
                  <a:lstStyle/>
                  <a:p>
                    <a:fld id="{68FD6FD5-592E-4B9F-BC7D-95E4C85541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65468681-F6A6-4238-B205-1E1D7C8504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DD56BE76-3412-4CDF-B384-FCBFFD6EC6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6</c:v>
                </c:pt>
                <c:pt idx="1">
                  <c:v>7</c:v>
                </c:pt>
                <c:pt idx="2">
                  <c:v>60</c:v>
                </c:pt>
                <c:pt idx="3">
                  <c:v>22</c:v>
                </c:pt>
                <c:pt idx="4">
                  <c:v>20</c:v>
                </c:pt>
                <c:pt idx="5">
                  <c:v>18</c:v>
                </c:pt>
                <c:pt idx="6">
                  <c:v>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6%</c:v>
                  </c:pt>
                  <c:pt idx="1">
                    <c:v>7%</c:v>
                  </c:pt>
                  <c:pt idx="2">
                    <c:v>60%</c:v>
                  </c:pt>
                  <c:pt idx="3">
                    <c:v>22%q</c:v>
                  </c:pt>
                  <c:pt idx="4">
                    <c:v>20%</c:v>
                  </c:pt>
                  <c:pt idx="5">
                    <c:v>18%</c:v>
                  </c:pt>
                  <c:pt idx="6">
                    <c:v>6%</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92B5E008-14D7-417B-9398-E6F19A4420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9248B43D-8293-45AD-8805-222BED773D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3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1A030C5C-9F8C-4C59-B61F-8FDB8AA5C6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BD0DF752-ABA0-43AC-B017-674F428909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64EC37DB-A7E7-4D4E-B119-F8B146A11B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1</c:v>
                </c:pt>
                <c:pt idx="1">
                  <c:v>18</c:v>
                </c:pt>
                <c:pt idx="2">
                  <c:v>34</c:v>
                </c:pt>
                <c:pt idx="3">
                  <c:v>32</c:v>
                </c:pt>
                <c:pt idx="4">
                  <c:v>5</c:v>
                </c:pt>
                <c:pt idx="5">
                  <c:v>17</c:v>
                </c:pt>
                <c:pt idx="6">
                  <c:v>1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31%</c:v>
                  </c:pt>
                  <c:pt idx="1">
                    <c:v>18%</c:v>
                  </c:pt>
                  <c:pt idx="2">
                    <c:v>34%</c:v>
                  </c:pt>
                  <c:pt idx="3">
                    <c:v>32%q</c:v>
                  </c:pt>
                  <c:pt idx="4">
                    <c:v>5%</c:v>
                  </c:pt>
                  <c:pt idx="5">
                    <c:v>17%</c:v>
                  </c:pt>
                  <c:pt idx="6">
                    <c:v>12%</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7</c:v>
                </c:pt>
                <c:pt idx="1">
                  <c:v>44</c:v>
                </c:pt>
                <c:pt idx="2">
                  <c:v>8</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9</c:v>
                </c:pt>
                <c:pt idx="1">
                  <c:v>36</c:v>
                </c:pt>
                <c:pt idx="2">
                  <c:v>5</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0%</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74</c:v>
                </c:pt>
                <c:pt idx="2">
                  <c:v>0.87</c:v>
                </c:pt>
                <c:pt idx="3">
                  <c:v>0.77</c:v>
                </c:pt>
                <c:pt idx="4">
                  <c:v>0.7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21499810-BEC3-4213-B42A-9EE6C2C708B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EF888E4C-D842-4B6C-A5CD-DE83FF5AE7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B60BD1B9-08C0-4772-A6CE-FDC7181BECD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C780D968-4C22-4008-8B85-27BC40F04AE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0.26</c:v>
                </c:pt>
                <c:pt idx="2">
                  <c:v>0.13</c:v>
                </c:pt>
                <c:pt idx="3">
                  <c:v>0.23</c:v>
                </c:pt>
                <c:pt idx="4">
                  <c:v>0.2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74%</c:v>
                  </c:pt>
                  <c:pt idx="2">
                    <c:v>87%</c:v>
                  </c:pt>
                  <c:pt idx="3">
                    <c:v>77%</c:v>
                  </c:pt>
                  <c:pt idx="4">
                    <c:v>74%</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WEST LONDON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WEST LONDON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WEST LONDON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WEST LONDON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TH WEST LONDON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NORTH WEST LONDON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11901247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urine test as part of their last annual review
Participating in a course about diabetes
Having support from other people living with diabetes
Healthcare professionals providing support to monitor blood sugar levels
Healthcare professionals providing support in taking part in physical activity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0461409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463935363"/>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
Attending an annual review ever
Having a smoking status review as part of their last annual review
Healthcare professionals providing information about the potential complications of living with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42721939"/>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WEST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69522667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86225572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7% of respondents who were marked as Type 1 in the sample selected ‘Type 1’, 11% selected ‘Type 2’, *% selected ‘Other’ and 2% selected ‘I don’t know’ ​</a:t>
            </a:r>
          </a:p>
          <a:p>
            <a:pPr marL="171450" indent="-171450">
              <a:buFont typeface="Arial" panose="020B0604020202020204" pitchFamily="34" charset="0"/>
              <a:buChar char="•"/>
              <a:defRPr/>
            </a:pPr>
            <a:r>
              <a:rPr lang="en-GB" sz="1200" dirty="0">
                <a:solidFill>
                  <a:schemeClr val="tx1"/>
                </a:solidFill>
                <a:effectLst/>
              </a:rPr>
              <a:t>85% of respondents who were marked as Type 2 in the sample selected ‘Type 2’, 4% selected ‘Type 1’, 2% selected ‘Other’ and 9%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9); Type 2, ICS (535)).</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4083411200"/>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964979594"/>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964159558"/>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842677252"/>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07207583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9); Type 2, National (19,941), ICS (412))</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421658775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41342566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0); Type 2, National (22,278), ICS (466))</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12357570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91469265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57); Type 2, National (21,082), ICS (443))</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34994322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523436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7); Type 2, National (24,180), ICS (529))</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051836604"/>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357876630"/>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821618720"/>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3243696089"/>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8720009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93); Type 2, National (22,482), ICS (462))</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51628642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86962127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45650725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49802688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85411046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87525081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79241697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4778458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75786579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95); Type 2, National (22,670), ICS (470))</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62943391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274377790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0590922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04236169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81815936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51598219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44025562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54153328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92951869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7); Type 2, National (24,076), ICS (530))</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230280421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409897275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56290589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92093453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04964038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96848970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412142415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91863420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9); Type 2, National (24,153), ICS (53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55863621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13968928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50521913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94752809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62060961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71263422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414917313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5573507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47422268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9); Type 2, National (24,135), ICS (53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9457319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30764568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26140743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23554708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3161080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412405820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45730272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76760597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24310815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7); Type 2, National (24,084), ICS (52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03233645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420104273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89813709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9076842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167072278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7224834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90443671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4728088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88872283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6); Type 2, National (24,070), ICS (53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3635263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485766013"/>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53681438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163232819"/>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1349203099"/>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47016666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657668265"/>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01435975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425997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9); Type 2, National (24,260), ICS (53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9335120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05039103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45084628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4249850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82780918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76822595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03475907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423581358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83003302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8); Type 2, National (24,267), ICS (537))</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1815994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41832145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221091088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04467922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50905264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95958777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04159565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09871476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34887616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8); Type 2, National (24,196), ICS (53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42916831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05930404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65404658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5); Type 2, National (24,019), ICS (522))</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98544207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32615081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3); Type 2, National (11,860), ICS (233))</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4303348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410488145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0); Type 2, National (21,228), ICS (473))</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91393715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57849649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84); Type 2, National (20,915), ICS (480))</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87882174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42076788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81); Type 2, National (20,086), ICS (453))</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33603220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83630654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93); Type 2, National (21,890), ICS (497))</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84847036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7359111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72); Type 2, National (18,585), ICS (412))</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69521695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07766082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404988875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63675659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5370472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206803042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2417684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1296822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98); Type 2, National (22,580), ICS (485))</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14954428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895953784"/>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122522999"/>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401059776"/>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1817388747"/>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5208599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12); Type 2, National (12,350), ICS (306))</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27013127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851990899"/>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4158077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75599199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57305337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66262727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66494410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53248777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99); Type 2, National (10,911), ICS (24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67663009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679343830"/>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28885611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0836421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870367821"/>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3602718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867916539"/>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89))</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361327"/>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446866628"/>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855466302"/>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307293104"/>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19340966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686467931"/>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67))</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NORTH WEST LONDON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3,403</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58</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28%</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9</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39</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03</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2,100</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019003260"/>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746672072"/>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551721801"/>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834502032"/>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344208029"/>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388171712"/>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4112796198"/>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TH WEST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01393772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
Healthcare professionals providing support with eating well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1899735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279531575"/>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foot check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39414576"/>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9</TotalTime>
  <Words>5418</Words>
  <Application>Microsoft Office PowerPoint</Application>
  <PresentationFormat>Widescreen</PresentationFormat>
  <Paragraphs>815</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Wingdings</vt:lpstr>
      <vt:lpstr>Arial Black</vt:lpstr>
      <vt:lpstr>Barlow</vt:lpstr>
      <vt:lpstr>Arial</vt:lpstr>
      <vt:lpstr>Arial (Body)</vt:lpstr>
      <vt:lpstr>Roboto</vt:lpstr>
      <vt:lpstr>Wingdings 3</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2</cp:revision>
  <cp:lastPrinted>2024-09-17T13:37:47Z</cp:lastPrinted>
  <dcterms:created xsi:type="dcterms:W3CDTF">2024-06-17T14:42:21Z</dcterms:created>
  <dcterms:modified xsi:type="dcterms:W3CDTF">2024-12-02T12:3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